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8473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028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nfKO9rYDmE8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hlinkClick r:id="rId2"/>
            <a:extLst>
              <a:ext uri="{FF2B5EF4-FFF2-40B4-BE49-F238E27FC236}">
                <a16:creationId xmlns:a16="http://schemas.microsoft.com/office/drawing/2014/main" id="{F327ADCA-C77F-40BF-AE65-AC090853E2D6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0" r="30038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5 March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andra Bullock, Channing Tatum, Brad Pit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aron Nee, Adam Nee (</a:t>
            </a:r>
            <a:r>
              <a:rPr lang="en-US" i="1" dirty="0">
                <a:solidFill>
                  <a:schemeClr val="accent6"/>
                </a:solidFill>
              </a:rPr>
              <a:t>Band of Robbers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Ocean’s 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is original action comedy features an incredible array of Hollywood’s top talent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8-34 Women Index: 21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590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 reclusive romance novelist on a book tour with her cover model is swept up in a kidnapping attempt that lands them both in a cutthroat jungle adventure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Lost C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tar-studded jungle hijinks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049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8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Lost Cit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The Lost City</dc:description>
  <cp:lastModifiedBy/>
  <cp:revision>1</cp:revision>
  <dcterms:created xsi:type="dcterms:W3CDTF">2019-03-25T11:13:20Z</dcterms:created>
  <dcterms:modified xsi:type="dcterms:W3CDTF">2022-01-19T16:59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The Lost City</vt:lpwstr>
  </property>
</Properties>
</file>